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4"/>
    <p:sldMasterId id="2147483688" r:id="rId5"/>
    <p:sldMasterId id="2147483779" r:id="rId6"/>
  </p:sldMasterIdLst>
  <p:notesMasterIdLst>
    <p:notesMasterId r:id="rId9"/>
  </p:notesMasterIdLst>
  <p:handoutMasterIdLst>
    <p:handoutMasterId r:id="rId10"/>
  </p:handoutMasterIdLst>
  <p:sldIdLst>
    <p:sldId id="2147480287" r:id="rId7"/>
    <p:sldId id="2147480247" r:id="rId8"/>
  </p:sldIdLst>
  <p:sldSz cx="12192000" cy="6858000"/>
  <p:notesSz cx="6858000" cy="9144000"/>
  <p:custDataLst>
    <p:tags r:id="rId11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CS-VOW" id="{70BA6EE8-0BC0-E949-916D-7F467724F53E}">
          <p14:sldIdLst>
            <p14:sldId id="2147480287"/>
            <p14:sldId id="21474802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6F4CD8-F122-31B9-7A8A-9A01F106891B}" name="Dürmeyer, Felix" initials="DF" userId="S::felix.duermeyer@senacor.com::e681a03b-95e4-4ec6-8dc1-70ae960b34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40FF"/>
    <a:srgbClr val="FF79FF"/>
    <a:srgbClr val="7192C7"/>
    <a:srgbClr val="000000"/>
    <a:srgbClr val="323232"/>
    <a:srgbClr val="F6C111"/>
    <a:srgbClr val="929292"/>
    <a:srgbClr val="EEC345"/>
    <a:srgbClr val="37373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7A76C0-CE87-5EC9-B18E-240FFC6A1BBA}" v="374" dt="2024-01-30T08:29:26.621"/>
    <p1510:client id="{47353021-1ABF-6980-DBDE-91426EFCA053}" v="54" dt="2024-01-30T08:20:25.489"/>
    <p1510:client id="{56A581CD-7CD0-F9D7-0033-AEE4CB3D654F}" v="564" dt="2024-01-30T08:31:11.777"/>
    <p1510:client id="{636CAEE4-523E-1145-9F31-9F468BB9FC19}" v="659" dt="2024-01-30T17:41:21.193"/>
    <p1510:client id="{6ACFB959-8E71-2648-9D62-E648F788AEA3}" v="341" dt="2024-01-30T12:41:34.350"/>
    <p1510:client id="{9FC05A1C-14ED-8ED5-681E-69E232F6DCE3}" v="206" dt="2024-01-30T16:54:08.729"/>
    <p1510:client id="{A80D77B4-2084-499B-844D-BF1C403253E8}" v="419" dt="2024-01-30T12:24:47.731"/>
    <p1510:client id="{A9A958F4-31D2-5140-AECC-965130A09F4B}" v="611" dt="2024-01-30T17:13:24.756"/>
    <p1510:client id="{E43BC9A1-BC74-CD4E-FDB2-00B00BB84788}" v="10" dt="2024-01-30T12:10:50.124"/>
    <p1510:client id="{EC1F4B8B-54DF-4AE0-ACAF-C90696037CC9}" v="1" dt="2024-01-30T09:07:19.582"/>
    <p1510:client id="{FE04EC1F-7AAD-48D6-AFEF-A4417E1F2675}" v="822" dt="2024-01-29T18:34:22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55"/>
    <p:restoredTop sz="94694"/>
  </p:normalViewPr>
  <p:slideViewPr>
    <p:cSldViewPr snapToGrid="0">
      <p:cViewPr varScale="1">
        <p:scale>
          <a:sx n="121" d="100"/>
          <a:sy n="121" d="100"/>
        </p:scale>
        <p:origin x="139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0DCB21-F4D3-D1D4-CF0D-BF78D59D28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A16866-EFD6-68E7-47B7-8B090D938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25DF0-5E4A-495E-AD8C-CC8FDC636079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00D9FC-B05C-D34D-37E7-C6467BDC56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790B14-F39F-A965-0690-1D65B6468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1E73CE-A8F7-4FAA-8263-09231EA4F75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6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B1B49-9609-4E63-A375-FC459FA5B93F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535FA-94A6-4DEF-8F84-D811EAB89C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2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4A96D-52B9-9CC3-9D3A-C3CD43CAF2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2C6967-695C-EE1A-442E-CEA7FA5C33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0966F2-D76A-9262-042F-EC21D510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5BC0A-D678-C4B3-C33A-09519D509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D6DBC-3E8B-DD8F-950F-F48BF9454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75544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945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517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0A3C975-3400-8446-D22D-CD7E126510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14F0D678-749F-5213-EBAC-FE0C6AED6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35" imgH="435" progId="TCLayout.ActiveDocument.1">
                  <p:embed/>
                </p:oleObj>
              </mc:Choice>
              <mc:Fallback>
                <p:oleObj name="think-cell Folie" r:id="rId3" imgW="435" imgH="43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14F0D678-749F-5213-EBAC-FE0C6AED623E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E397A3F1-954A-E5ED-2502-D7CCF267D9BB}"/>
              </a:ext>
            </a:extLst>
          </p:cNvPr>
          <p:cNvSpPr txBox="1"/>
          <p:nvPr userDrawn="1"/>
        </p:nvSpPr>
        <p:spPr>
          <a:xfrm>
            <a:off x="609918" y="6026900"/>
            <a:ext cx="206094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fr-FR" sz="14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lfsburg, 02.02.2024</a:t>
            </a:r>
            <a:endParaRPr lang="de-DE" sz="1400" b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BBFC321-AF73-34B1-2BC3-F5F55D169BC8}"/>
              </a:ext>
            </a:extLst>
          </p:cNvPr>
          <p:cNvGrpSpPr/>
          <p:nvPr userDrawn="1"/>
        </p:nvGrpSpPr>
        <p:grpSpPr>
          <a:xfrm>
            <a:off x="10240057" y="5996920"/>
            <a:ext cx="1470744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5F9B5ED9-B182-D35E-0CA4-244D4863864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EF32AD2-2AB2-821D-9830-55060927174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4C5BA9F-1DAB-0988-BB56-856EAC5C769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68910D7-795A-201D-D128-DA579F31EAC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F85DC581-2093-7FE7-3F79-4653E226870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E305E9E3-2923-AF80-9675-435CBD4A7CA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9B26E17-3E17-7697-95DC-6CC4AE123A1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19" y="4496507"/>
            <a:ext cx="11232000" cy="517881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Lorem</a:t>
            </a:r>
            <a:r>
              <a:rPr lang="de-DE"/>
              <a:t> Ipsum</a:t>
            </a:r>
          </a:p>
        </p:txBody>
      </p:sp>
    </p:spTree>
    <p:extLst>
      <p:ext uri="{BB962C8B-B14F-4D97-AF65-F5344CB8AC3E}">
        <p14:creationId xmlns:p14="http://schemas.microsoft.com/office/powerpoint/2010/main" val="1797270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8.11.2023</a:t>
            </a:r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CRD070  |  Strategic Setup of Customer Success Team  |  Senacor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2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202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857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oleObject" Target="../embeddings/oleObject3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E72465-E154-918B-87B5-0FB63496F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724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5" imgH="405" progId="TCLayout.ActiveDocument.1">
                  <p:embed/>
                </p:oleObj>
              </mc:Choice>
              <mc:Fallback>
                <p:oleObj name="think-cell Folie" r:id="rId4" imgW="405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E72465-E154-918B-87B5-0FB63496FAC0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19999"/>
            <a:ext cx="11232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Edit master title format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A2075-B767-A0E7-D40F-8D9F91D37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Heading</a:t>
            </a:r>
          </a:p>
          <a:p>
            <a:pPr lvl="1"/>
            <a:r>
              <a:rPr lang="de-DE"/>
              <a:t>Main text</a:t>
            </a:r>
          </a:p>
          <a:p>
            <a:pPr lvl="2"/>
            <a:r>
              <a:rPr lang="de-DE"/>
              <a:t>First enumeration level</a:t>
            </a:r>
          </a:p>
          <a:p>
            <a:pPr lvl="3"/>
            <a:r>
              <a:rPr lang="de-DE"/>
              <a:t>Second enumeration level</a:t>
            </a:r>
          </a:p>
          <a:p>
            <a:pPr lvl="4"/>
            <a:r>
              <a:rPr lang="de-DE"/>
              <a:t>First </a:t>
            </a:r>
            <a:r>
              <a:rPr lang="de-DE" err="1"/>
              <a:t>numbering level</a:t>
            </a:r>
            <a:endParaRPr lang="de-DE"/>
          </a:p>
          <a:p>
            <a:pPr lvl="5"/>
            <a:r>
              <a:rPr lang="de-DE"/>
              <a:t>Second </a:t>
            </a:r>
            <a:r>
              <a:rPr lang="de-DE" err="1"/>
              <a:t>numbering level</a:t>
            </a:r>
            <a:endParaRPr lang="de-DE"/>
          </a:p>
          <a:p>
            <a:pPr lvl="6"/>
            <a:r>
              <a:rPr lang="de-DE"/>
              <a:t>BLUE SUBHEADING</a:t>
            </a:r>
          </a:p>
          <a:p>
            <a:pPr lvl="7"/>
            <a:r>
              <a:rPr lang="de-DE"/>
              <a:t>GREEN SUBHEADING</a:t>
            </a:r>
          </a:p>
          <a:p>
            <a:pPr lvl="8"/>
            <a:r>
              <a:rPr lang="de-DE"/>
              <a:t>Foo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 </a:t>
            </a:r>
            <a:r>
              <a:rPr lang="de-DE"/>
              <a:t>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15206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Wingdings" panose="05000000000000000000" pitchFamily="2" charset="2"/>
        <a:buChar char="§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Symbol" panose="05050102010706020507" pitchFamily="18" charset="2"/>
        <a:buChar char="-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rabi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lphaL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063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F1E4316-3E1B-9EBB-9665-738E9E2BB1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7748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5" imgH="405" progId="TCLayout.ActiveDocument.1">
                  <p:embed/>
                </p:oleObj>
              </mc:Choice>
              <mc:Fallback>
                <p:oleObj name="think-cell Folie" r:id="rId7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1E4316-3E1B-9EBB-9665-738E9E2BB180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Edit master title format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Heading</a:t>
            </a:r>
          </a:p>
          <a:p>
            <a:pPr lvl="1"/>
            <a:r>
              <a:rPr lang="de-DE"/>
              <a:t>Main text</a:t>
            </a:r>
          </a:p>
          <a:p>
            <a:pPr lvl="2"/>
            <a:r>
              <a:rPr lang="de-DE"/>
              <a:t>First enumeration level</a:t>
            </a:r>
          </a:p>
          <a:p>
            <a:pPr lvl="3"/>
            <a:r>
              <a:rPr lang="de-DE"/>
              <a:t>Second enumeration level</a:t>
            </a:r>
          </a:p>
          <a:p>
            <a:pPr lvl="4"/>
            <a:r>
              <a:rPr lang="de-DE"/>
              <a:t>First </a:t>
            </a:r>
            <a:r>
              <a:rPr lang="de-DE" err="1"/>
              <a:t>numbering level</a:t>
            </a:r>
            <a:endParaRPr lang="de-DE"/>
          </a:p>
          <a:p>
            <a:pPr lvl="5"/>
            <a:r>
              <a:rPr lang="de-DE"/>
              <a:t>Second </a:t>
            </a:r>
            <a:r>
              <a:rPr lang="de-DE" err="1"/>
              <a:t>numbering level</a:t>
            </a:r>
            <a:endParaRPr lang="de-DE"/>
          </a:p>
          <a:p>
            <a:pPr lvl="6"/>
            <a:r>
              <a:rPr lang="de-DE"/>
              <a:t>BLUE SUBHEADING</a:t>
            </a:r>
          </a:p>
          <a:p>
            <a:pPr lvl="7"/>
            <a:r>
              <a:rPr lang="de-DE"/>
              <a:t>GREEN SUBHEADING</a:t>
            </a:r>
          </a:p>
          <a:p>
            <a:pPr lvl="8"/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2441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0" r:id="rId2"/>
    <p:sldLayoutId id="2147483682" r:id="rId3"/>
    <p:sldLayoutId id="2147483778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4020" userDrawn="1">
          <p15:clr>
            <a:srgbClr val="F26B43"/>
          </p15:clr>
        </p15:guide>
        <p15:guide id="3" orient="horz" pos="1063" userDrawn="1">
          <p15:clr>
            <a:srgbClr val="F26B43"/>
          </p15:clr>
        </p15:guide>
        <p15:guide id="4" pos="30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03F363E-69C0-A7F8-5200-AB604FF228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27782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3F363E-69C0-A7F8-5200-AB604FF2287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Edit master title format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Heading</a:t>
            </a:r>
          </a:p>
          <a:p>
            <a:pPr lvl="1"/>
            <a:r>
              <a:rPr lang="de-DE"/>
              <a:t>Main text</a:t>
            </a:r>
          </a:p>
          <a:p>
            <a:pPr lvl="2"/>
            <a:r>
              <a:rPr lang="de-DE"/>
              <a:t>First enumeration level</a:t>
            </a:r>
          </a:p>
          <a:p>
            <a:pPr lvl="3"/>
            <a:r>
              <a:rPr lang="de-DE"/>
              <a:t>Second enumeration level</a:t>
            </a:r>
          </a:p>
          <a:p>
            <a:pPr lvl="4"/>
            <a:r>
              <a:rPr lang="de-DE"/>
              <a:t>First </a:t>
            </a:r>
            <a:r>
              <a:rPr lang="de-DE" err="1"/>
              <a:t>numbering level</a:t>
            </a:r>
            <a:endParaRPr lang="de-DE"/>
          </a:p>
          <a:p>
            <a:pPr lvl="5"/>
            <a:r>
              <a:rPr lang="de-DE"/>
              <a:t>Second </a:t>
            </a:r>
            <a:r>
              <a:rPr lang="de-DE" err="1"/>
              <a:t>numbering level</a:t>
            </a:r>
            <a:endParaRPr lang="de-DE"/>
          </a:p>
          <a:p>
            <a:pPr lvl="6"/>
            <a:r>
              <a:rPr lang="de-DE"/>
              <a:t>BLUE SUBHEADING</a:t>
            </a:r>
          </a:p>
          <a:p>
            <a:pPr lvl="7"/>
            <a:r>
              <a:rPr lang="de-DE"/>
              <a:t>GREEN SUBHEADING</a:t>
            </a:r>
          </a:p>
          <a:p>
            <a:pPr lvl="8"/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41604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0EAF57-1308-AD71-09C0-1089770216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6AA50B-AC30-DA43-0A0E-65A4DCB80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t>03.06.25</a:t>
            </a:fld>
            <a:endParaRPr lang="en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25BFD7B-BDEB-3229-92CF-AF9948A06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C80CDA-A307-815A-E7B9-09D84BD334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A6059B-7D94-B018-ED55-C5F4213A55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t>1</a:t>
            </a:fld>
            <a:endParaRPr lang="en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5ED8389-C86C-A140-731A-08BEBF95CC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Consultan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FD7165E-5821-7617-1A33-DBE82DFB7DF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FE7DDAF-1F10-1590-E7D0-C33CF40FED4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numCol="2"/>
          <a:lstStyle/>
          <a:p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4DD7B5A-7069-48D7-D63F-F68A7D6368D7}"/>
              </a:ext>
            </a:extLst>
          </p:cNvPr>
          <p:cNvSpPr txBox="1">
            <a:spLocks/>
          </p:cNvSpPr>
          <p:nvPr/>
        </p:nvSpPr>
        <p:spPr>
          <a:xfrm>
            <a:off x="3247391" y="1530910"/>
            <a:ext cx="3214778" cy="195099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Symbol" pitchFamily="2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indent="0">
              <a:buFont typeface="Wingdings" pitchFamily="2" charset="2"/>
              <a:buNone/>
            </a:pPr>
            <a:endParaRPr lang="de-DE" dirty="0"/>
          </a:p>
        </p:txBody>
      </p:sp>
      <p:sp>
        <p:nvSpPr>
          <p:cNvPr id="20" name="Content Placeholder 16">
            <a:extLst>
              <a:ext uri="{FF2B5EF4-FFF2-40B4-BE49-F238E27FC236}">
                <a16:creationId xmlns:a16="http://schemas.microsoft.com/office/drawing/2014/main" id="{ECBB2304-440B-37DD-65B0-770CC7359D09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ontent Placeholder 16">
            <a:extLst>
              <a:ext uri="{FF2B5EF4-FFF2-40B4-BE49-F238E27FC236}">
                <a16:creationId xmlns:a16="http://schemas.microsoft.com/office/drawing/2014/main" id="{18D59457-E51B-E0BD-6047-FECB4E095C99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FF1E899-DBC0-4303-A0BB-8F20E28FF74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810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FBAC47-64C4-16FB-5C0A-88C885CA80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B3B6DA5-A2C0-3362-CFE3-518042136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t>03.06.25</a:t>
            </a:fld>
            <a:endParaRPr lang="en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1E10A1E-43AD-76F6-D19E-2A262FA5C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E4DAEE-21AB-7E56-0D41-E6C776936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769226-37FE-42D2-A9E3-EB9FFC4879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t>2</a:t>
            </a:fld>
            <a:endParaRPr lang="en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E8CAC0D-566D-C631-825F-3846BB6BFD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Consultan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E2F8D9B-3837-A280-741B-94FFAAB0EFD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418355D-D012-5A5C-7ABA-CFDCE7717AA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vert="horz" wrap="square" lIns="0" tIns="0" rIns="0" bIns="0" numCol="2" rtlCol="0" anchor="t">
            <a:noAutofit/>
          </a:bodyPr>
          <a:lstStyle/>
          <a:p>
            <a:endParaRPr lang="de-DE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365C9EFE-170C-F1FD-102D-197B8C391D12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ontent Placeholder 16">
            <a:extLst>
              <a:ext uri="{FF2B5EF4-FFF2-40B4-BE49-F238E27FC236}">
                <a16:creationId xmlns:a16="http://schemas.microsoft.com/office/drawing/2014/main" id="{6E8D4B63-884A-6FD1-018B-7588C353C0AE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lussdiagramm: Alternativer Prozess 7">
            <a:extLst>
              <a:ext uri="{FF2B5EF4-FFF2-40B4-BE49-F238E27FC236}">
                <a16:creationId xmlns:a16="http://schemas.microsoft.com/office/drawing/2014/main" id="{3B80A708-5EF0-C098-6D2C-281477AC3C6D}"/>
              </a:ext>
            </a:extLst>
          </p:cNvPr>
          <p:cNvSpPr/>
          <p:nvPr/>
        </p:nvSpPr>
        <p:spPr>
          <a:xfrm>
            <a:off x="4564742" y="180000"/>
            <a:ext cx="3062040" cy="504646"/>
          </a:xfrm>
          <a:custGeom>
            <a:avLst/>
            <a:gdLst>
              <a:gd name="connsiteX0" fmla="*/ 0 w 4678017"/>
              <a:gd name="connsiteY0" fmla="*/ 229704 h 1378226"/>
              <a:gd name="connsiteX1" fmla="*/ 229704 w 4678017"/>
              <a:gd name="connsiteY1" fmla="*/ 0 h 1378226"/>
              <a:gd name="connsiteX2" fmla="*/ 4448313 w 4678017"/>
              <a:gd name="connsiteY2" fmla="*/ 0 h 1378226"/>
              <a:gd name="connsiteX3" fmla="*/ 4678017 w 4678017"/>
              <a:gd name="connsiteY3" fmla="*/ 229704 h 1378226"/>
              <a:gd name="connsiteX4" fmla="*/ 4678017 w 4678017"/>
              <a:gd name="connsiteY4" fmla="*/ 1148522 h 1378226"/>
              <a:gd name="connsiteX5" fmla="*/ 4448313 w 4678017"/>
              <a:gd name="connsiteY5" fmla="*/ 1378226 h 1378226"/>
              <a:gd name="connsiteX6" fmla="*/ 229704 w 4678017"/>
              <a:gd name="connsiteY6" fmla="*/ 1378226 h 1378226"/>
              <a:gd name="connsiteX7" fmla="*/ 0 w 4678017"/>
              <a:gd name="connsiteY7" fmla="*/ 1148522 h 1378226"/>
              <a:gd name="connsiteX8" fmla="*/ 0 w 4678017"/>
              <a:gd name="connsiteY8" fmla="*/ 229704 h 1378226"/>
              <a:gd name="connsiteX0" fmla="*/ 116954 w 4794971"/>
              <a:gd name="connsiteY0" fmla="*/ 229704 h 1378226"/>
              <a:gd name="connsiteX1" fmla="*/ 41858 w 4794971"/>
              <a:gd name="connsiteY1" fmla="*/ 6626 h 1378226"/>
              <a:gd name="connsiteX2" fmla="*/ 4565267 w 4794971"/>
              <a:gd name="connsiteY2" fmla="*/ 0 h 1378226"/>
              <a:gd name="connsiteX3" fmla="*/ 4794971 w 4794971"/>
              <a:gd name="connsiteY3" fmla="*/ 229704 h 1378226"/>
              <a:gd name="connsiteX4" fmla="*/ 4794971 w 4794971"/>
              <a:gd name="connsiteY4" fmla="*/ 1148522 h 1378226"/>
              <a:gd name="connsiteX5" fmla="*/ 4565267 w 4794971"/>
              <a:gd name="connsiteY5" fmla="*/ 1378226 h 1378226"/>
              <a:gd name="connsiteX6" fmla="*/ 346658 w 4794971"/>
              <a:gd name="connsiteY6" fmla="*/ 1378226 h 1378226"/>
              <a:gd name="connsiteX7" fmla="*/ 116954 w 4794971"/>
              <a:gd name="connsiteY7" fmla="*/ 1148522 h 1378226"/>
              <a:gd name="connsiteX8" fmla="*/ 116954 w 4794971"/>
              <a:gd name="connsiteY8" fmla="*/ 229704 h 1378226"/>
              <a:gd name="connsiteX0" fmla="*/ 211762 w 4889779"/>
              <a:gd name="connsiteY0" fmla="*/ 229705 h 1378227"/>
              <a:gd name="connsiteX1" fmla="*/ 30649 w 4889779"/>
              <a:gd name="connsiteY1" fmla="*/ 0 h 1378227"/>
              <a:gd name="connsiteX2" fmla="*/ 4660075 w 4889779"/>
              <a:gd name="connsiteY2" fmla="*/ 1 h 1378227"/>
              <a:gd name="connsiteX3" fmla="*/ 4889779 w 4889779"/>
              <a:gd name="connsiteY3" fmla="*/ 229705 h 1378227"/>
              <a:gd name="connsiteX4" fmla="*/ 4889779 w 4889779"/>
              <a:gd name="connsiteY4" fmla="*/ 1148523 h 1378227"/>
              <a:gd name="connsiteX5" fmla="*/ 4660075 w 4889779"/>
              <a:gd name="connsiteY5" fmla="*/ 1378227 h 1378227"/>
              <a:gd name="connsiteX6" fmla="*/ 441466 w 4889779"/>
              <a:gd name="connsiteY6" fmla="*/ 1378227 h 1378227"/>
              <a:gd name="connsiteX7" fmla="*/ 211762 w 4889779"/>
              <a:gd name="connsiteY7" fmla="*/ 1148523 h 1378227"/>
              <a:gd name="connsiteX8" fmla="*/ 211762 w 4889779"/>
              <a:gd name="connsiteY8" fmla="*/ 229705 h 1378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9779" h="1378227">
                <a:moveTo>
                  <a:pt x="211762" y="229705"/>
                </a:moveTo>
                <a:cubicBezTo>
                  <a:pt x="211762" y="102843"/>
                  <a:pt x="-96213" y="0"/>
                  <a:pt x="30649" y="0"/>
                </a:cubicBezTo>
                <a:lnTo>
                  <a:pt x="4660075" y="1"/>
                </a:lnTo>
                <a:cubicBezTo>
                  <a:pt x="4786937" y="1"/>
                  <a:pt x="4889779" y="102843"/>
                  <a:pt x="4889779" y="229705"/>
                </a:cubicBezTo>
                <a:lnTo>
                  <a:pt x="4889779" y="1148523"/>
                </a:lnTo>
                <a:cubicBezTo>
                  <a:pt x="4889779" y="1275385"/>
                  <a:pt x="4786937" y="1378227"/>
                  <a:pt x="4660075" y="1378227"/>
                </a:cubicBezTo>
                <a:lnTo>
                  <a:pt x="441466" y="1378227"/>
                </a:lnTo>
                <a:cubicBezTo>
                  <a:pt x="314604" y="1378227"/>
                  <a:pt x="211762" y="1275385"/>
                  <a:pt x="211762" y="1148523"/>
                </a:cubicBezTo>
                <a:lnTo>
                  <a:pt x="211762" y="22970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>
                <a:latin typeface="Arial" panose="020B0604020202020204" pitchFamily="34" charset="0"/>
                <a:cs typeface="Arial" panose="020B0604020202020204" pitchFamily="34" charset="0"/>
              </a:rPr>
              <a:t>customer anonymous versi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D2B0D50-E169-4584-A0C4-A9C889DA4B6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997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 2023 (Dark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71450" indent="-171450" algn="l">
          <a:spcAft>
            <a:spcPts val="330"/>
          </a:spcAft>
          <a:buFont typeface="Wingdings" pitchFamily="2" charset="2"/>
          <a:buChar char="§"/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Master_2023" id="{69E2B91C-73F8-3141-9371-DDB6FAB7484B}" vid="{D24E23BC-4089-724E-AE17-D279E1740A09}"/>
    </a:ext>
  </a:extLst>
</a:theme>
</file>

<file path=ppt/theme/theme2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3.xml><?xml version="1.0" encoding="utf-8"?>
<a:theme xmlns:a="http://schemas.openxmlformats.org/drawingml/2006/main" name="1_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c37c3-6fe6-4316-bb79-6c535e774478">
      <Terms xmlns="http://schemas.microsoft.com/office/infopath/2007/PartnerControls"/>
    </lcf76f155ced4ddcb4097134ff3c332f>
    <TaxCatchAll xmlns="f247cc86-41ce-4e54-895f-61d07d03751e" xsi:nil="true"/>
    <SharedWithUsers xmlns="f247cc86-41ce-4e54-895f-61d07d03751e">
      <UserInfo>
        <DisplayName>Gumlich, Timo</DisplayName>
        <AccountId>988</AccountId>
        <AccountType/>
      </UserInfo>
    </SharedWithUsers>
    <Personen xmlns="c70c37c3-6fe6-4316-bb79-6c535e774478">
      <UserInfo>
        <DisplayName/>
        <AccountId xsi:nil="true"/>
        <AccountType/>
      </UserInfo>
    </Personen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3" ma:contentTypeDescription="Ein neues Dokument erstellen." ma:contentTypeScope="" ma:versionID="e751e2ca1d7ce197800ba94b0f09aa65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ab5c457f17bbc802fd4f1b72ab1df8c0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83A819-51AB-478F-855E-A0B89FBD5DC9}">
  <ds:schemaRefs>
    <ds:schemaRef ds:uri="896e6d41-da10-4c30-ab4e-332975642d34"/>
    <ds:schemaRef ds:uri="d92fabe0-170e-4a80-b096-7cc0b8362d0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70c37c3-6fe6-4316-bb79-6c535e774478"/>
    <ds:schemaRef ds:uri="f247cc86-41ce-4e54-895f-61d07d03751e"/>
  </ds:schemaRefs>
</ds:datastoreItem>
</file>

<file path=customXml/itemProps2.xml><?xml version="1.0" encoding="utf-8"?>
<ds:datastoreItem xmlns:ds="http://schemas.openxmlformats.org/officeDocument/2006/customXml" ds:itemID="{C4AAE4F1-069C-4B82-8345-E9262B2E85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1105344-4E4D-4A05-949C-9504BEA8045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2497ec2-0945-4f55-8021-79766363dd96}" enabled="0" method="" siteId="{52497ec2-0945-4f55-8021-79766363dd9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</Words>
  <Application>Microsoft Macintosh PowerPoint</Application>
  <PresentationFormat>Widescreen</PresentationFormat>
  <Paragraphs>1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ymbol</vt:lpstr>
      <vt:lpstr>Wingdings</vt:lpstr>
      <vt:lpstr>Senacor 2023 (Dark)</vt:lpstr>
      <vt:lpstr>Senacor 2023 (Light)</vt:lpstr>
      <vt:lpstr>1_Senacor 2023 (Light)</vt:lpstr>
      <vt:lpstr>think-cell Folie</vt:lpstr>
      <vt:lpstr>Name</vt:lpstr>
      <vt:lpstr>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acor Präsentation</dc:title>
  <dc:subject>IT-Beratung</dc:subject>
  <dc:creator>Brusch, Ulf</dc:creator>
  <cp:keywords>Senacor Farbschema, docId:1C360247DDF62E8C7321C4C48A8A2C45</cp:keywords>
  <cp:lastModifiedBy>Heinrich, Daniel</cp:lastModifiedBy>
  <cp:revision>4</cp:revision>
  <cp:lastPrinted>2023-09-29T10:30:56Z</cp:lastPrinted>
  <dcterms:created xsi:type="dcterms:W3CDTF">2023-05-16T12:46:23Z</dcterms:created>
  <dcterms:modified xsi:type="dcterms:W3CDTF">2025-06-03T10:4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  <property fmtid="{D5CDD505-2E9C-101B-9397-08002B2CF9AE}" pid="3" name="MediaServiceImageTags">
    <vt:lpwstr/>
  </property>
  <property fmtid="{D5CDD505-2E9C-101B-9397-08002B2CF9AE}" pid="4" name="Order">
    <vt:r8>78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TriggerFlowInfo">
    <vt:lpwstr/>
  </property>
</Properties>
</file>